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47" r:id="rId18"/>
    <p:sldId id="258" r:id="rId19"/>
    <p:sldId id="350" r:id="rId20"/>
    <p:sldId id="355" r:id="rId21"/>
    <p:sldId id="356" r:id="rId22"/>
    <p:sldId id="357" r:id="rId23"/>
    <p:sldId id="1331" r:id="rId24"/>
    <p:sldId id="1335" r:id="rId25"/>
    <p:sldId id="1336" r:id="rId26"/>
    <p:sldId id="1326" r:id="rId27"/>
  </p:sldIdLst>
  <p:sldSz cx="9144000" cy="6858000" type="screen4x3"/>
  <p:notesSz cx="6797675" cy="9926638"/>
  <p:custDataLst>
    <p:tags r:id="rId3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2F2F2"/>
    <a:srgbClr val="BFE5E2"/>
    <a:srgbClr val="983C3E"/>
    <a:srgbClr val="FFFF99"/>
    <a:srgbClr val="ECF2F8"/>
    <a:srgbClr val="E7EFED"/>
    <a:srgbClr val="CBDED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69" autoAdjust="0"/>
    <p:restoredTop sz="9476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616" y="192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1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1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78221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3DF141C-AC6E-204F-83AC-8813C72B488C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02350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CFD3F8B-3759-3B45-9499-86B3519C7A6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36652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0B805A5-0520-1C45-9469-FBD4C5C9AAED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38335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EC52751E-040E-C948-B965-0333645FD5AF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699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1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1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users.stat.ufl.edu/~winner/datasets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f"/><Relationship Id="rId4" Type="http://schemas.openxmlformats.org/officeDocument/2006/relationships/image" Target="../media/image10.tif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rawgit.com/luebby/Datenanalyse-mit-R/master/Installation/Install.htm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luebby/Datenanalyse-mit-R/blob/master/Installation/R-mosaic-Kurzreferenz.pdf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111578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Was soll der Computer für mich tun?</a:t>
            </a:r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Was muss der Computer dafür wissen?</a:t>
            </a:r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1115782"/>
            <a:ext cx="3849773" cy="25972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0" lvl="1">
              <a:lnSpc>
                <a:spcPct val="150000"/>
              </a:lnSpc>
            </a:pP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03818" y="2723329"/>
            <a:ext cx="480815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0043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 0: Erste Schritte mit R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26356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 “CS0-Base-R</a:t>
            </a: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Textfeld 98">
            <a:extLst>
              <a:ext uri="{FF2B5EF4-FFF2-40B4-BE49-F238E27FC236}">
                <a16:creationId xmlns:a16="http://schemas.microsoft.com/office/drawing/2014/main" id="{6E05514E-7F00-A94D-AD8C-383600862689}"/>
              </a:ext>
            </a:extLst>
          </p:cNvPr>
          <p:cNvSpPr txBox="1"/>
          <p:nvPr/>
        </p:nvSpPr>
        <p:spPr>
          <a:xfrm>
            <a:off x="7783969" y="3060160"/>
            <a:ext cx="12786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Powerpointpräs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Posterpräs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Paper/Report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Webapplik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217E8F6C-9D0D-0F49-A6D9-BAF1B71C57DD}"/>
              </a:ext>
            </a:extLst>
          </p:cNvPr>
          <p:cNvSpPr txBox="1"/>
          <p:nvPr/>
        </p:nvSpPr>
        <p:spPr>
          <a:xfrm>
            <a:off x="63892" y="3060160"/>
            <a:ext cx="131650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kaggle.com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RStudio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 Datensät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Google Dataset Sear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Universitä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hlinkClick r:id="rId3"/>
              </a:rPr>
              <a:t>http://users.stat.ufl.edu/~winner/datasets.html</a:t>
            </a:r>
            <a:endParaRPr lang="de-DE" sz="1000" dirty="0"/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386817" y="1615526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44944" y="1615526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28440" y="16155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17034" y="1920766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30997" y="1615526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29818" y="16155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29129" y="16155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42230" y="1621421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12905" y="1920766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17723" y="1920766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186683" y="1920765"/>
            <a:ext cx="441757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extLst>
              <a:ext uri="{FF2B5EF4-FFF2-40B4-BE49-F238E27FC236}">
                <a16:creationId xmlns:a16="http://schemas.microsoft.com/office/drawing/2014/main" id="{76B7121B-1CC1-AD49-8C48-6330A1BDE504}"/>
              </a:ext>
            </a:extLst>
          </p:cNvPr>
          <p:cNvSpPr/>
          <p:nvPr/>
        </p:nvSpPr>
        <p:spPr>
          <a:xfrm>
            <a:off x="89180" y="1549348"/>
            <a:ext cx="1526661" cy="79103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2C274FBA-65A3-F645-A9BA-A3A4AA0795DF}"/>
              </a:ext>
            </a:extLst>
          </p:cNvPr>
          <p:cNvSpPr txBox="1"/>
          <p:nvPr/>
        </p:nvSpPr>
        <p:spPr>
          <a:xfrm>
            <a:off x="1380395" y="3058778"/>
            <a:ext cx="17216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om PC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(oder anderer Quelle))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in R einlesen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ED492A92-F2AD-644D-A551-6724C125737A}"/>
              </a:ext>
            </a:extLst>
          </p:cNvPr>
          <p:cNvSpPr txBox="1"/>
          <p:nvPr/>
        </p:nvSpPr>
        <p:spPr>
          <a:xfrm>
            <a:off x="2984804" y="3060160"/>
            <a:ext cx="16562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ariablen aus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obachtungen fi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Fehlende Werte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aggreg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Daten 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Ausreißer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Transformation von variablen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4C84B52C-325A-D748-988A-2EF590F58F94}"/>
              </a:ext>
            </a:extLst>
          </p:cNvPr>
          <p:cNvSpPr txBox="1"/>
          <p:nvPr/>
        </p:nvSpPr>
        <p:spPr>
          <a:xfrm>
            <a:off x="4585493" y="3058778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schreibende Statistiken berech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isualis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erteilung der Variablen beschreiben</a:t>
            </a:r>
          </a:p>
        </p:txBody>
      </p: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43065" y="945886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18212" y="953105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feld 64">
            <a:extLst>
              <a:ext uri="{FF2B5EF4-FFF2-40B4-BE49-F238E27FC236}">
                <a16:creationId xmlns:a16="http://schemas.microsoft.com/office/drawing/2014/main" id="{F0BB7575-A216-BF4C-95EC-1BA1A813A587}"/>
              </a:ext>
            </a:extLst>
          </p:cNvPr>
          <p:cNvSpPr txBox="1"/>
          <p:nvPr/>
        </p:nvSpPr>
        <p:spPr>
          <a:xfrm>
            <a:off x="6228753" y="3058778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Statistische Hypothesen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Lineare Regressionsanalyse</a:t>
            </a:r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380395" y="2499525"/>
            <a:ext cx="17216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2984804" y="2500907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585493" y="2499525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228752" y="2499525"/>
            <a:ext cx="16562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71314" y="4675391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66225" y="1627249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099539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30824" y="1926660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4622" y="1549349"/>
            <a:ext cx="1500197" cy="79103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72382" y="1296998"/>
            <a:ext cx="8999236" cy="337839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044" y="1038502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63894" y="2497147"/>
            <a:ext cx="13165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Quellen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88819" y="2410348"/>
            <a:ext cx="1278615" cy="2127140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783969" y="2496853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Kommunikation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725175" y="2468080"/>
            <a:ext cx="1278615" cy="192183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1583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C887B61-BBF4-8F4F-8398-59193D63AD04}"/>
              </a:ext>
            </a:extLst>
          </p:cNvPr>
          <p:cNvSpPr txBox="1"/>
          <p:nvPr/>
        </p:nvSpPr>
        <p:spPr>
          <a:xfrm>
            <a:off x="7180122" y="2601578"/>
            <a:ext cx="17216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om PC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(oder anderer Quelle))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in R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180122" y="2042325"/>
            <a:ext cx="17216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260039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 1: Daten einles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24991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 „CS0-Base-R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Lösung: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679E9B"/>
                </a:solidFill>
                <a:latin typeface="Courier New" panose="02070309020205020404" pitchFamily="49" charset="0"/>
              </a:rPr>
              <a:t> </a:t>
            </a:r>
            <a:r>
              <a:rPr lang="de-DE" sz="1800" b="0" dirty="0">
                <a:solidFill>
                  <a:schemeClr val="tx1"/>
                </a:solidFill>
              </a:rPr>
              <a:t>verwendet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</a:rPr>
              <a:t> und bietet viele </a:t>
            </a:r>
            <a:br>
              <a:rPr lang="de-DE" sz="1800" b="0" dirty="0">
                <a:solidFill>
                  <a:schemeClr val="tx1"/>
                </a:solidFill>
              </a:rPr>
            </a:br>
            <a:r>
              <a:rPr lang="de-DE" sz="1800" b="0" dirty="0">
                <a:solidFill>
                  <a:schemeClr val="tx1"/>
                </a:solidFill>
              </a:rPr>
              <a:t>Möglichkeiten Daten zu manipulieren: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E23001B-2E53-D146-A5E2-62CA2BD3FFEF}"/>
              </a:ext>
            </a:extLst>
          </p:cNvPr>
          <p:cNvSpPr/>
          <p:nvPr/>
        </p:nvSpPr>
        <p:spPr>
          <a:xfrm>
            <a:off x="7428167" y="11583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0596E6B-3BA4-5F4E-B76A-CE4BEFDCE6F0}"/>
              </a:ext>
            </a:extLst>
          </p:cNvPr>
          <p:cNvSpPr txBox="1"/>
          <p:nvPr/>
        </p:nvSpPr>
        <p:spPr>
          <a:xfrm>
            <a:off x="7183842" y="2602960"/>
            <a:ext cx="16562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ariablen aus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obachtungen fi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Fehlende Werte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aggreg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Daten 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Ausreißer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Transformation von variabl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B22A0D5-325A-8B45-B0DD-7A3E238FAB1D}"/>
              </a:ext>
            </a:extLst>
          </p:cNvPr>
          <p:cNvSpPr txBox="1"/>
          <p:nvPr/>
        </p:nvSpPr>
        <p:spPr>
          <a:xfrm>
            <a:off x="7183842" y="2043707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28648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 2: Daten aufbereit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48097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 „CS2-Data-Transformation-with-dplyr“</a:t>
            </a: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1" dirty="0"/>
              <a:t>Summary</a:t>
            </a:r>
            <a:r>
              <a:rPr lang="de-DE" sz="1600" dirty="0"/>
              <a:t>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CF06253-B5E5-0B41-8898-9C478877867B}"/>
              </a:ext>
            </a:extLst>
          </p:cNvPr>
          <p:cNvSpPr/>
          <p:nvPr/>
        </p:nvSpPr>
        <p:spPr>
          <a:xfrm>
            <a:off x="7428167" y="11583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B6FDF44-9A78-FF4D-922D-B77982915B84}"/>
              </a:ext>
            </a:extLst>
          </p:cNvPr>
          <p:cNvSpPr txBox="1"/>
          <p:nvPr/>
        </p:nvSpPr>
        <p:spPr>
          <a:xfrm>
            <a:off x="7183842" y="2601578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schreibende Statistiken berech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isualis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erteilung der Variablen beschreib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3CD16CA-7798-5845-B4A7-CA4079CFE1DF}"/>
              </a:ext>
            </a:extLst>
          </p:cNvPr>
          <p:cNvSpPr txBox="1"/>
          <p:nvPr/>
        </p:nvSpPr>
        <p:spPr>
          <a:xfrm>
            <a:off x="7183842" y="2042325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089AFBD-03F7-E54B-8CFF-8B94731C8B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308" y="3819883"/>
            <a:ext cx="2564893" cy="2564893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708124B7-288D-3742-981A-99B773B429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5187457"/>
            <a:ext cx="476738" cy="476738"/>
          </a:xfrm>
          <a:prstGeom prst="rect">
            <a:avLst/>
          </a:prstGeom>
        </p:spPr>
      </p:pic>
      <p:sp>
        <p:nvSpPr>
          <p:cNvPr id="52" name="Rechteck 51">
            <a:extLst>
              <a:ext uri="{FF2B5EF4-FFF2-40B4-BE49-F238E27FC236}">
                <a16:creationId xmlns:a16="http://schemas.microsoft.com/office/drawing/2014/main" id="{22085FA7-C74B-9540-946C-F677BAF331C0}"/>
              </a:ext>
            </a:extLst>
          </p:cNvPr>
          <p:cNvSpPr/>
          <p:nvPr/>
        </p:nvSpPr>
        <p:spPr>
          <a:xfrm>
            <a:off x="593970" y="5256549"/>
            <a:ext cx="28520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 3: Daten explorieren</a:t>
            </a: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A5748D69-69B8-3946-B458-94186A2BA5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927" y="5783919"/>
            <a:ext cx="417685" cy="417685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E2D8F148-D5D7-A241-99C1-E44DE2560BB8}"/>
              </a:ext>
            </a:extLst>
          </p:cNvPr>
          <p:cNvSpPr/>
          <p:nvPr/>
        </p:nvSpPr>
        <p:spPr>
          <a:xfrm>
            <a:off x="591040" y="5729701"/>
            <a:ext cx="469853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  „CS3-Kennzahlen“</a:t>
            </a:r>
          </a:p>
          <a:p>
            <a:pPr>
              <a:tabLst>
                <a:tab pos="1281113" algn="l"/>
              </a:tabLst>
            </a:pPr>
            <a:r>
              <a:rPr lang="de-DE" sz="1600" dirty="0"/>
              <a:t>	 „CS4-Visualisierungen-mit-Mosaic“</a:t>
            </a:r>
          </a:p>
          <a:p>
            <a:pPr>
              <a:tabLst>
                <a:tab pos="1281113" algn="l"/>
              </a:tabLst>
            </a:pPr>
            <a:r>
              <a:rPr lang="de-DE" sz="1600" dirty="0"/>
              <a:t>	 „CS5-Visualisierungen-generell“</a:t>
            </a: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FD811204-9E1C-2E4E-9F46-63CC3749694B}"/>
              </a:ext>
            </a:extLst>
          </p:cNvPr>
          <p:cNvSpPr/>
          <p:nvPr/>
        </p:nvSpPr>
        <p:spPr>
          <a:xfrm>
            <a:off x="7428167" y="1158327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FE77D2F-9BB8-E94C-9C3E-CFDA5E8FB769}"/>
              </a:ext>
            </a:extLst>
          </p:cNvPr>
          <p:cNvSpPr txBox="1"/>
          <p:nvPr/>
        </p:nvSpPr>
        <p:spPr>
          <a:xfrm>
            <a:off x="7214690" y="2595684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Statistische Hypothesen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Lineare Regressionsanalyse</a:t>
            </a:r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BF56815-87D9-E540-85E0-116D4CB1BF7E}"/>
              </a:ext>
            </a:extLst>
          </p:cNvPr>
          <p:cNvSpPr txBox="1"/>
          <p:nvPr/>
        </p:nvSpPr>
        <p:spPr>
          <a:xfrm>
            <a:off x="7214689" y="2036431"/>
            <a:ext cx="16562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2D66C6C-8F88-A940-A05C-743845982B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509" y="1067097"/>
            <a:ext cx="8162275" cy="5296977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rnprozess: Datenanalyse</a:t>
            </a:r>
          </a:p>
        </p:txBody>
      </p:sp>
    </p:spTree>
    <p:extLst>
      <p:ext uri="{BB962C8B-B14F-4D97-AF65-F5344CB8AC3E}">
        <p14:creationId xmlns:p14="http://schemas.microsoft.com/office/powerpoint/2010/main" val="7310371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5452" y="2342606"/>
            <a:ext cx="8280348" cy="522514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R (</a:t>
            </a:r>
            <a:r>
              <a:rPr lang="de-DE" u="sng" dirty="0">
                <a:solidFill>
                  <a:schemeClr val="accent1"/>
                </a:solidFill>
              </a:rPr>
              <a:t>https://www.r-project.org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RStudio Desktop (</a:t>
            </a:r>
            <a:r>
              <a:rPr lang="de-DE" u="sng" dirty="0">
                <a:solidFill>
                  <a:schemeClr val="accent1"/>
                </a:solidFill>
              </a:rPr>
              <a:t>https://www.rstudio.com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Installation von Zusatzpaketen in RStudio: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install.packages("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dirty="0"/>
              <a:t>"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Ausführliche Installationsanleitung </a:t>
            </a:r>
            <a:r>
              <a:rPr lang="de-DE" dirty="0">
                <a:hlinkClick r:id="rId3"/>
              </a:rPr>
              <a:t>hier</a:t>
            </a:r>
            <a:r>
              <a:rPr lang="de-DE" dirty="0"/>
              <a:t>.</a:t>
            </a:r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Installatio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037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 &amp;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25451" y="979788"/>
            <a:ext cx="8315181" cy="1812839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b="1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~ </m:t>
                    </m:r>
                  </m:oMath>
                </a14:m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abhängige Variable</a:t>
                </a:r>
              </a:p>
              <a:p>
                <a:pPr lvl="1"/>
                <a:r>
                  <a:rPr lang="de-DE" dirty="0"/>
                  <a:t>	  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x</a:t>
                </a:r>
                <a:r>
                  <a:rPr lang="de-DE" dirty="0"/>
                  <a:t> 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unabhängige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3"/>
                    </a:solidFill>
                  </a:rPr>
                  <a:t>|</a:t>
                </a:r>
                <a:r>
                  <a:rPr lang="de-DE" dirty="0"/>
                  <a:t>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z</a:t>
                </a:r>
                <a:r>
                  <a:rPr lang="de-DE" dirty="0">
                    <a:cs typeface="Courier New" panose="02070309020205020404" pitchFamily="49" charset="0"/>
                  </a:rPr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bedingende (gruppierende)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Optionen</a:t>
                </a:r>
                <a:r>
                  <a:rPr lang="de-DE" dirty="0"/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weitere Optionen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ta =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daten)</a:t>
                </a:r>
                <a:r>
                  <a:rPr lang="de-DE" dirty="0"/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Datensatz</a:t>
                </a:r>
              </a:p>
              <a:p>
                <a:pPr lvl="1"/>
                <a:endParaRPr lang="de-DE" dirty="0"/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(): </a:t>
                </a:r>
                <a:r>
                  <a:rPr lang="de-DE" dirty="0"/>
                  <a:t>Was soll R tun?*</a:t>
                </a:r>
              </a:p>
              <a:p>
                <a:pPr lvl="1"/>
                <a:r>
                  <a:rPr lang="de-DE" dirty="0"/>
                  <a:t>Hinweis: unter macOS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: ~: alt+n, |: alt+7</a:t>
                </a:r>
              </a:p>
              <a:p>
                <a:pPr lvl="1"/>
                <a:endParaRPr lang="de-DE" dirty="0"/>
              </a:p>
              <a:p>
                <a:pPr lvl="1"/>
                <a:endParaRPr lang="de-DE" u="sng" dirty="0">
                  <a:solidFill>
                    <a:schemeClr val="accent1"/>
                  </a:solidFill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pPr lvl="1"/>
                <a:endParaRPr lang="de-DE" dirty="0"/>
              </a:p>
              <a:p>
                <a:pPr lvl="1"/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Inhalts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587" t="-7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de: mosaic	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 bwMode="auto">
          <a:xfrm>
            <a:off x="130175" y="6238959"/>
            <a:ext cx="8210457" cy="19769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de-DE" sz="1050" dirty="0"/>
              <a:t>*Befehlsübersicht </a:t>
            </a:r>
            <a:r>
              <a:rPr lang="de-DE" sz="1050" dirty="0">
                <a:solidFill>
                  <a:schemeClr val="accent1"/>
                </a:solidFill>
                <a:hlinkClick r:id="rId4"/>
              </a:rPr>
              <a:t>hier</a:t>
            </a:r>
            <a:r>
              <a:rPr lang="de-DE" sz="105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36173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25452" y="1968137"/>
            <a:ext cx="8280348" cy="539932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 meiny </a:t>
            </a:r>
            <a:r>
              <a:rPr lang="de-DE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x,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 =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edaten)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entrale Frage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58548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dirty="0"/>
              <a:t>R unterscheidet zwischen Groß- und Kleinbuchstaben.</a:t>
            </a:r>
          </a:p>
          <a:p>
            <a:pPr lvl="2"/>
            <a:r>
              <a:rPr lang="de-DE" dirty="0"/>
              <a:t>R verwendet den Punkt. als Dezimaltrennzeichen.</a:t>
            </a:r>
          </a:p>
          <a:p>
            <a:pPr lvl="2"/>
            <a:r>
              <a:rPr lang="de-DE" dirty="0"/>
              <a:t>Fehlende Werte werden in R durch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NA </a:t>
            </a:r>
            <a:r>
              <a:rPr lang="de-DE" dirty="0"/>
              <a:t>kodiert.</a:t>
            </a:r>
          </a:p>
          <a:p>
            <a:pPr lvl="2"/>
            <a:r>
              <a:rPr lang="de-DE" dirty="0"/>
              <a:t>Kommentare werden mit dem Rautezeiche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dirty="0"/>
              <a:t>eingeleitet.</a:t>
            </a:r>
          </a:p>
          <a:p>
            <a:pPr lvl="2"/>
            <a:r>
              <a:rPr lang="de-DE" dirty="0"/>
              <a:t>Eine Ergebniszuweisung erfolgt üb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-</a:t>
            </a:r>
            <a:r>
              <a:rPr lang="de-DE" dirty="0"/>
              <a:t>.</a:t>
            </a:r>
          </a:p>
          <a:p>
            <a:pPr lvl="2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%&gt;%</a:t>
            </a:r>
            <a:r>
              <a:rPr lang="de-DE" dirty="0"/>
              <a:t> (Pake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dirty="0"/>
              <a:t>) übergibt Ergebnisse.</a:t>
            </a:r>
          </a:p>
          <a:p>
            <a:pPr lvl="2"/>
            <a:r>
              <a:rPr lang="de-DE" dirty="0"/>
              <a:t>Hilfe zur Funktio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oo:?foo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Basics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12341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3 Hilfreiche </a:t>
            </a:r>
            <a:r>
              <a:rPr lang="de-DE" dirty="0" err="1"/>
              <a:t>Cheatsheets</a:t>
            </a:r>
            <a:r>
              <a:rPr lang="de-DE" dirty="0"/>
              <a:t> und Orientierungstabell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2171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4 Beispiel Datenanalyse I: Datenbereinig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56390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5 Beispiel Datenanalyse II</a:t>
            </a:r>
            <a:r>
              <a:rPr lang="de-DE"/>
              <a:t>: </a:t>
            </a:r>
          </a:p>
          <a:p>
            <a:r>
              <a:rPr lang="de-DE"/>
              <a:t>Hypothesentest &amp; Modellierun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80442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F3912CE-8FAD-FC4D-BA62-EB4B199D30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PPENDIX:</a:t>
            </a:r>
          </a:p>
          <a:p>
            <a:r>
              <a:rPr lang="de-DE" dirty="0"/>
              <a:t>Datenhandling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C7832B2-2722-594B-8112-EA6FF47E29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1F01AC-CDD6-2C40-AA9C-5B2F5E794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7567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277584"/>
            <a:ext cx="8315181" cy="107145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754413"/>
              </p:ext>
            </p:extLst>
          </p:nvPr>
        </p:nvGraphicFramePr>
        <p:xfrm>
          <a:off x="114171" y="1067098"/>
          <a:ext cx="8067402" cy="3943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6774798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 (</a:t>
            </a:r>
            <a:r>
              <a:rPr lang="de-DE" sz="1600" b="0" dirty="0" err="1">
                <a:solidFill>
                  <a:schemeClr val="tx1"/>
                </a:solidFill>
              </a:rPr>
              <a:t>Wallmart</a:t>
            </a:r>
            <a:r>
              <a:rPr lang="de-DE" sz="1600" b="0" dirty="0">
                <a:solidFill>
                  <a:schemeClr val="tx1"/>
                </a:solidFill>
              </a:rPr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dirty="0"/>
              <a:t>Thousands of </a:t>
            </a:r>
            <a:r>
              <a:rPr lang="en" sz="1400" dirty="0">
                <a:solidFill>
                  <a:srgbClr val="679E9B"/>
                </a:solidFill>
              </a:rPr>
              <a:t>Petabytes</a:t>
            </a:r>
            <a:r>
              <a:rPr lang="en" sz="1400" b="1" dirty="0"/>
              <a:t> </a:t>
            </a:r>
            <a:r>
              <a:rPr lang="en" sz="1400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dirty="0"/>
              <a:t>They create 2,500,000 Gigabytes of data </a:t>
            </a:r>
            <a:r>
              <a:rPr lang="en" sz="1400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dirty="0"/>
              <a:t>Combine </a:t>
            </a:r>
            <a:r>
              <a:rPr lang="en" sz="1400" dirty="0">
                <a:solidFill>
                  <a:srgbClr val="679E9B"/>
                </a:solidFill>
              </a:rPr>
              <a:t>200 sources</a:t>
            </a:r>
            <a:r>
              <a:rPr lang="en" sz="1400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036516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057866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5796148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197225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383173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157647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165739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256914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256914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6786521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636040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256914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235564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235564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235564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746239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29" idx="0"/>
            <a:endCxn id="18" idx="2"/>
          </p:cNvCxnSpPr>
          <p:nvPr/>
        </p:nvCxnSpPr>
        <p:spPr>
          <a:xfrm flipV="1">
            <a:off x="746239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130997" y="1431588"/>
            <a:ext cx="1526393" cy="2354966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8" y="1296999"/>
            <a:ext cx="8122048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23150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Wissensgenerierender Prozess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r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342879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4916332" y="2728223"/>
            <a:ext cx="1834529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285617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endParaRPr lang="de-DE" sz="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3278195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orschungsfrage zur vorläufigen Antwort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2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278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Univesum</a:t>
            </a:r>
            <a:endParaRPr lang="de-DE" sz="1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72028" y="5506707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Konso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104307" y="4489938"/>
            <a:ext cx="686393" cy="117065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72027" y="2278972"/>
            <a:ext cx="652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ditor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924770" y="2432860"/>
            <a:ext cx="865930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1114873"/>
            <a:ext cx="18870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gebung &amp; Histori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08431" y="1422650"/>
            <a:ext cx="406663" cy="8786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22212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Misc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: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Datei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Abbildung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Paket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Hilf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Viewer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93876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81</Words>
  <Application>Microsoft Macintosh PowerPoint</Application>
  <PresentationFormat>Bildschirmpräsentation (4:3)</PresentationFormat>
  <Paragraphs>388</Paragraphs>
  <Slides>26</Slides>
  <Notes>1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1" baseType="lpstr">
      <vt:lpstr>Arial</vt:lpstr>
      <vt:lpstr>Cambria Math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82</cp:revision>
  <cp:lastPrinted>2013-02-22T13:48:11Z</cp:lastPrinted>
  <dcterms:created xsi:type="dcterms:W3CDTF">2017-12-20T06:53:29Z</dcterms:created>
  <dcterms:modified xsi:type="dcterms:W3CDTF">2019-05-01T13:25:48Z</dcterms:modified>
  <cp:version>20140523</cp:version>
</cp:coreProperties>
</file>